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874" r:id="rId2"/>
  </p:sldIdLst>
  <p:sldSz cx="18288000" cy="10287000"/>
  <p:notesSz cx="6858000" cy="9144000"/>
  <p:embeddedFontLst>
    <p:embeddedFont>
      <p:font typeface="Open Sans Light" panose="020B0306030504020204" pitchFamily="34" charset="0"/>
      <p:regular r:id="rId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font" Target="fonts/font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888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66A4C-106F-B612-6124-8DCD2D547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11C76BB-8BC9-9C7B-ABD0-DEED9C3505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C76BB-8BC9-9C7B-ABD0-DEED9C35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B607B4-5ABB-8351-BE46-B2E59FC6C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016E7C4-CC90-E5BB-5B29-B1CAC7A5B5B8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8A016B-D6D9-BC5B-23F8-E6141D74CA08}"/>
              </a:ext>
            </a:extLst>
          </p:cNvPr>
          <p:cNvSpPr txBox="1"/>
          <p:nvPr/>
        </p:nvSpPr>
        <p:spPr>
          <a:xfrm>
            <a:off x="12870503" y="5532700"/>
            <a:ext cx="3368129" cy="1402409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7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6D896F-FAB9-6C2F-B2FB-572C191C6002}"/>
              </a:ext>
            </a:extLst>
          </p:cNvPr>
          <p:cNvSpPr txBox="1"/>
          <p:nvPr/>
        </p:nvSpPr>
        <p:spPr>
          <a:xfrm>
            <a:off x="11889011" y="2692295"/>
            <a:ext cx="3368129" cy="1402409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7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921720-8159-6AE6-5246-25C4D96FA505}"/>
              </a:ext>
            </a:extLst>
          </p:cNvPr>
          <p:cNvSpPr txBox="1"/>
          <p:nvPr/>
        </p:nvSpPr>
        <p:spPr>
          <a:xfrm>
            <a:off x="3546074" y="2719482"/>
            <a:ext cx="3004539" cy="1402409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27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8E44FF-C906-75C3-CDBD-8083B47CEA6E}"/>
              </a:ext>
            </a:extLst>
          </p:cNvPr>
          <p:cNvSpPr txBox="1"/>
          <p:nvPr/>
        </p:nvSpPr>
        <p:spPr>
          <a:xfrm>
            <a:off x="2489027" y="5559885"/>
            <a:ext cx="3004539" cy="1402409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27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575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13687EB4-CE3E-9980-7EFD-93C747CE0E9A}"/>
              </a:ext>
            </a:extLst>
          </p:cNvPr>
          <p:cNvSpPr/>
          <p:nvPr/>
        </p:nvSpPr>
        <p:spPr>
          <a:xfrm rot="2364690" flipH="1">
            <a:off x="5670557" y="2974058"/>
            <a:ext cx="6990963" cy="699095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>
              <a:solidFill>
                <a:schemeClr val="tx1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17E9E6F8-40E5-B6C0-1406-1E3FBD146F43}"/>
              </a:ext>
            </a:extLst>
          </p:cNvPr>
          <p:cNvSpPr/>
          <p:nvPr/>
        </p:nvSpPr>
        <p:spPr>
          <a:xfrm rot="19235310">
            <a:off x="5680316" y="2974058"/>
            <a:ext cx="6990963" cy="699095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>
              <a:solidFill>
                <a:schemeClr val="tx1"/>
              </a:solidFill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D4D03C9-1B39-112F-50E0-E9F282B2460A}"/>
              </a:ext>
            </a:extLst>
          </p:cNvPr>
          <p:cNvSpPr/>
          <p:nvPr/>
        </p:nvSpPr>
        <p:spPr>
          <a:xfrm rot="6037468" flipH="1">
            <a:off x="5670560" y="2974056"/>
            <a:ext cx="6990959" cy="6990963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>
              <a:solidFill>
                <a:schemeClr val="tx1"/>
              </a:solidFill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F3B3191E-F4E0-58F6-6844-4971EF18817A}"/>
              </a:ext>
            </a:extLst>
          </p:cNvPr>
          <p:cNvSpPr/>
          <p:nvPr/>
        </p:nvSpPr>
        <p:spPr>
          <a:xfrm rot="15562532">
            <a:off x="5680322" y="2974056"/>
            <a:ext cx="6990959" cy="6990963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5473941-CA70-42EA-0F98-1E5BB7330E44}"/>
              </a:ext>
            </a:extLst>
          </p:cNvPr>
          <p:cNvSpPr/>
          <p:nvPr/>
        </p:nvSpPr>
        <p:spPr>
          <a:xfrm flipV="1">
            <a:off x="7636539" y="5013288"/>
            <a:ext cx="3068760" cy="308200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A4FBFF6-3104-F16A-65F1-8FC0CB691D3B}"/>
              </a:ext>
            </a:extLst>
          </p:cNvPr>
          <p:cNvSpPr txBox="1">
            <a:spLocks/>
          </p:cNvSpPr>
          <p:nvPr/>
        </p:nvSpPr>
        <p:spPr>
          <a:xfrm>
            <a:off x="7054671" y="6244754"/>
            <a:ext cx="4231092" cy="1788180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728">
              <a:buClr>
                <a:srgbClr val="0070C0"/>
              </a:buClr>
              <a:defRPr/>
            </a:pPr>
            <a:r>
              <a:rPr lang="en-IN" sz="4200" b="1" dirty="0">
                <a:latin typeface="+mn-lt"/>
                <a:ea typeface="Open Sans ExtraBold" charset="0"/>
                <a:cs typeface="Open Sans ExtraBold" charset="0"/>
              </a:rPr>
              <a:t>HEADING</a:t>
            </a:r>
          </a:p>
        </p:txBody>
      </p:sp>
      <p:sp>
        <p:nvSpPr>
          <p:cNvPr id="32" name="Star: 4 Points 31">
            <a:extLst>
              <a:ext uri="{FF2B5EF4-FFF2-40B4-BE49-F238E27FC236}">
                <a16:creationId xmlns:a16="http://schemas.microsoft.com/office/drawing/2014/main" id="{341B9C7A-E248-13CC-8358-2C78651A51E0}"/>
              </a:ext>
            </a:extLst>
          </p:cNvPr>
          <p:cNvSpPr/>
          <p:nvPr/>
        </p:nvSpPr>
        <p:spPr>
          <a:xfrm>
            <a:off x="6201285" y="6316086"/>
            <a:ext cx="801540" cy="80154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33" name="Star: 4 Points 32">
            <a:extLst>
              <a:ext uri="{FF2B5EF4-FFF2-40B4-BE49-F238E27FC236}">
                <a16:creationId xmlns:a16="http://schemas.microsoft.com/office/drawing/2014/main" id="{6A4D8D09-046A-4FF5-E5F6-E06F298F3199}"/>
              </a:ext>
            </a:extLst>
          </p:cNvPr>
          <p:cNvSpPr/>
          <p:nvPr/>
        </p:nvSpPr>
        <p:spPr>
          <a:xfrm>
            <a:off x="7302167" y="3805067"/>
            <a:ext cx="801540" cy="80154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34" name="Star: 4 Points 33">
            <a:extLst>
              <a:ext uri="{FF2B5EF4-FFF2-40B4-BE49-F238E27FC236}">
                <a16:creationId xmlns:a16="http://schemas.microsoft.com/office/drawing/2014/main" id="{A7E149FC-C4D3-71A3-8667-E3E54DD41B7A}"/>
              </a:ext>
            </a:extLst>
          </p:cNvPr>
          <p:cNvSpPr/>
          <p:nvPr/>
        </p:nvSpPr>
        <p:spPr>
          <a:xfrm>
            <a:off x="10133415" y="3831185"/>
            <a:ext cx="801540" cy="80154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35" name="Star: 4 Points 34">
            <a:extLst>
              <a:ext uri="{FF2B5EF4-FFF2-40B4-BE49-F238E27FC236}">
                <a16:creationId xmlns:a16="http://schemas.microsoft.com/office/drawing/2014/main" id="{C00CB583-2870-B499-6A24-861D1C6BAEB1}"/>
              </a:ext>
            </a:extLst>
          </p:cNvPr>
          <p:cNvSpPr/>
          <p:nvPr/>
        </p:nvSpPr>
        <p:spPr>
          <a:xfrm>
            <a:off x="11443227" y="6133536"/>
            <a:ext cx="801540" cy="80154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</p:spTree>
    <p:extLst>
      <p:ext uri="{BB962C8B-B14F-4D97-AF65-F5344CB8AC3E}">
        <p14:creationId xmlns:p14="http://schemas.microsoft.com/office/powerpoint/2010/main" val="2398541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7</TotalTime>
  <Words>88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Open Sans Light</vt:lpstr>
      <vt:lpstr>Aptos</vt:lpstr>
      <vt:lpstr>Crimson Pro</vt:lpstr>
      <vt:lpstr>Symbol</vt:lpstr>
      <vt:lpstr>Arial</vt:lpstr>
      <vt:lpstr>Custom Design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55</cp:revision>
  <dcterms:created xsi:type="dcterms:W3CDTF">2006-08-16T00:00:00Z</dcterms:created>
  <dcterms:modified xsi:type="dcterms:W3CDTF">2025-10-06T10:44:16Z</dcterms:modified>
  <cp:category/>
  <dc:identifier>DAGkDf5R9EM</dc:identifier>
</cp:coreProperties>
</file>